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oleObject" Target="../embeddings/oleObject4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44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17" imgW="383" imgH="385" progId="TCLayout.ActiveDocument.1">
                  <p:embed/>
                </p:oleObj>
              </mc:Choice>
              <mc:Fallback>
                <p:oleObj name="think-cell Slide" r:id="rId17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ea 100%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618884" y="1163479"/>
            <a:ext cx="871134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 smtClean="0"/>
              <a:t>The percentage of yearly budget for Service has consistently decreased in the last 7 years</a:t>
            </a:r>
            <a:endParaRPr lang="en-US" sz="1600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3574926"/>
              </p:ext>
            </p:extLst>
          </p:nvPr>
        </p:nvGraphicFramePr>
        <p:xfrm>
          <a:off x="1104900" y="1524000"/>
          <a:ext cx="8200851" cy="42197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Chart" r:id="rId19" imgW="8200851" imgH="4219715" progId="MSGraph.Chart.8">
                  <p:embed followColorScheme="full"/>
                </p:oleObj>
              </mc:Choice>
              <mc:Fallback>
                <p:oleObj name="Chart" r:id="rId19" imgW="8200851" imgH="42197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04900" y="1524000"/>
                        <a:ext cx="8200851" cy="42197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 bwMode="auto">
          <a:xfrm flipH="1">
            <a:off x="9253538" y="5256213"/>
            <a:ext cx="77788" cy="149225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 Placeholder 67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9356725" y="4284663"/>
            <a:ext cx="847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latin typeface="Arial" panose="020B0604020202020204" pitchFamily="34" charset="0"/>
                <a:sym typeface="Arial" panose="020B0604020202020204" pitchFamily="34" charset="0"/>
              </a:rPr>
              <a:t>Production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66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356725" y="5149850"/>
            <a:ext cx="592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sym typeface="+mn-lt"/>
              </a:rPr>
              <a:t>Service</a:t>
            </a:r>
            <a:endParaRPr lang="en-US" sz="1400" b="0" kern="0" dirty="0">
              <a:sym typeface="+mn-lt"/>
            </a:endParaRPr>
          </a:p>
        </p:txBody>
      </p:sp>
      <p:sp>
        <p:nvSpPr>
          <p:cNvPr id="17" name="Text Placeholder 68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9356725" y="2532063"/>
            <a:ext cx="1044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dirty="0" smtClean="0">
                <a:latin typeface="Arial" panose="020B0604020202020204" pitchFamily="34" charset="0"/>
                <a:sym typeface="Arial" panose="020B0604020202020204" pitchFamily="34" charset="0"/>
              </a:rPr>
              <a:t>Development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ext Placeholder 7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007475" y="56007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2FA0E52-38C3-4C41-B786-97B32D2FAF9A}" type="datetime'''''''''''2''''''0''''''1''''''''''''3'''''''''">
              <a:rPr lang="en-US" sz="1400" b="0"/>
              <a:pPr/>
              <a:t>2013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69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578475" y="56007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F4D96BF-562B-4F1B-B2DA-B88407E7AD59}" type="datetime'''''''''''''20''1''''''''''0'''''''''''''''">
              <a:rPr lang="en-US" sz="1400" b="0"/>
              <a:pPr/>
              <a:t>201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6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3292475" y="56007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CDBBB52-9985-41E4-A0FF-C9B9631D16D1}" type="datetime'''''2''''''''0''''''''''0''''''''''''''''''''8'''''''''''">
              <a:rPr lang="en-US" sz="1400" b="0"/>
              <a:pPr/>
              <a:t>2008</a:t>
            </a:fld>
            <a:endParaRPr lang="en-US" sz="1400" b="0" kern="0" dirty="0">
              <a:sym typeface="+mn-lt"/>
            </a:endParaRPr>
          </a:p>
        </p:txBody>
      </p:sp>
      <p:sp>
        <p:nvSpPr>
          <p:cNvPr id="10" name="Text Placeholder 60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2149475" y="56007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331A7A8-A016-469D-822B-DCBB324B807C}" type="datetime'2''0''''''''''''''0''''''''''''''''7'''''''''''''''''''">
              <a:rPr lang="en-US" sz="1400" b="0"/>
              <a:pPr/>
              <a:t>2007</a:t>
            </a:fld>
            <a:endParaRPr lang="en-US" sz="1400" b="0" kern="0" dirty="0">
              <a:sym typeface="+mn-lt"/>
            </a:endParaRPr>
          </a:p>
        </p:txBody>
      </p:sp>
      <p:sp>
        <p:nvSpPr>
          <p:cNvPr id="15" name="Text Placeholder 71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864475" y="56007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91CA83F-1DE4-4A39-A1EE-BA660CE1B31A}" type="datetime'''''''''201''''''''2'''''''''''''''''''''''''''''''''''''''''">
              <a:rPr lang="en-US" sz="1400" b="0"/>
              <a:pPr/>
              <a:t>2012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 Placeholder 70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727825" y="5600700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03B9255-5295-4380-923A-101156AECC1D}" type="datetime'''2''''''''''0''''''''''1''''''1'''''''''">
              <a:rPr lang="en-US" sz="1400" b="0"/>
              <a:pPr/>
              <a:t>2011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ext Placeholder 62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4435475" y="56007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1143C74-914F-4291-A116-AC57301C449F}" type="datetime'2''''''''''''''0''''0''''''''9'''''''''''''''">
              <a:rPr lang="en-US" sz="1400" b="0"/>
              <a:pPr/>
              <a:t>2009</a:t>
            </a:fld>
            <a:endParaRPr lang="en-US" sz="14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C9RfJeG0W5hlSzHmCw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Vo6mykC0irNos3ID4K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EkkBB.ES8X9h..aZO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uprLGc7ECTb1VBhotX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6yLZxE.U2kF_W5lxiT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aOxmCa.0Cxu0oNyJAj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oHMP7_kOrtSf.vjyV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KasUMjRkeCeZURJKX_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kp9jK47UCCHbPdRqos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UQJErIKUaA5UKJr_xg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ktIjuybE.kIo_cDrvI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YujvEfxki.qxiFSba5qA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Custom</PresentationFormat>
  <Paragraphs>1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Area 100%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38:59Z</dcterms:created>
  <dcterms:modified xsi:type="dcterms:W3CDTF">2013-11-29T16:39:31Z</dcterms:modified>
</cp:coreProperties>
</file>